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790" r:id="rId8"/>
    <p:sldMasterId id="2147483830" r:id="rId9"/>
  </p:sldMasterIdLst>
  <p:notesMasterIdLst>
    <p:notesMasterId r:id="rId78"/>
  </p:notesMasterIdLst>
  <p:sldIdLst>
    <p:sldId id="256" r:id="rId10"/>
    <p:sldId id="257" r:id="rId11"/>
    <p:sldId id="266" r:id="rId12"/>
    <p:sldId id="260" r:id="rId13"/>
    <p:sldId id="263" r:id="rId14"/>
    <p:sldId id="2942" r:id="rId15"/>
    <p:sldId id="10830" r:id="rId16"/>
    <p:sldId id="1792" r:id="rId17"/>
    <p:sldId id="830" r:id="rId18"/>
    <p:sldId id="10832" r:id="rId19"/>
    <p:sldId id="881" r:id="rId20"/>
    <p:sldId id="871" r:id="rId21"/>
    <p:sldId id="845" r:id="rId22"/>
    <p:sldId id="506" r:id="rId23"/>
    <p:sldId id="10862" r:id="rId24"/>
    <p:sldId id="10844" r:id="rId25"/>
    <p:sldId id="487" r:id="rId26"/>
    <p:sldId id="10789" r:id="rId27"/>
    <p:sldId id="515" r:id="rId28"/>
    <p:sldId id="10778" r:id="rId29"/>
    <p:sldId id="10837" r:id="rId30"/>
    <p:sldId id="10838" r:id="rId31"/>
    <p:sldId id="264" r:id="rId32"/>
    <p:sldId id="366" r:id="rId33"/>
    <p:sldId id="1728" r:id="rId34"/>
    <p:sldId id="270" r:id="rId35"/>
    <p:sldId id="787" r:id="rId36"/>
    <p:sldId id="262" r:id="rId37"/>
    <p:sldId id="10839" r:id="rId38"/>
    <p:sldId id="10859" r:id="rId39"/>
    <p:sldId id="10858" r:id="rId40"/>
    <p:sldId id="10836" r:id="rId41"/>
    <p:sldId id="10820" r:id="rId42"/>
    <p:sldId id="10841" r:id="rId43"/>
    <p:sldId id="10842" r:id="rId44"/>
    <p:sldId id="10864" r:id="rId45"/>
    <p:sldId id="10843" r:id="rId46"/>
    <p:sldId id="851" r:id="rId47"/>
    <p:sldId id="852" r:id="rId48"/>
    <p:sldId id="853" r:id="rId49"/>
    <p:sldId id="10857" r:id="rId50"/>
    <p:sldId id="1898" r:id="rId51"/>
    <p:sldId id="1900" r:id="rId52"/>
    <p:sldId id="1899" r:id="rId53"/>
    <p:sldId id="2892" r:id="rId54"/>
    <p:sldId id="10808" r:id="rId55"/>
    <p:sldId id="10851" r:id="rId56"/>
    <p:sldId id="10852" r:id="rId57"/>
    <p:sldId id="265" r:id="rId58"/>
    <p:sldId id="258" r:id="rId59"/>
    <p:sldId id="10855" r:id="rId60"/>
    <p:sldId id="10856" r:id="rId61"/>
    <p:sldId id="261" r:id="rId62"/>
    <p:sldId id="409" r:id="rId63"/>
    <p:sldId id="2149" r:id="rId64"/>
    <p:sldId id="10863" r:id="rId65"/>
    <p:sldId id="10846" r:id="rId66"/>
    <p:sldId id="10847" r:id="rId67"/>
    <p:sldId id="10848" r:id="rId68"/>
    <p:sldId id="10849" r:id="rId69"/>
    <p:sldId id="10850" r:id="rId70"/>
    <p:sldId id="10799" r:id="rId71"/>
    <p:sldId id="10822" r:id="rId72"/>
    <p:sldId id="10833" r:id="rId73"/>
    <p:sldId id="10834" r:id="rId74"/>
    <p:sldId id="10861" r:id="rId75"/>
    <p:sldId id="269" r:id="rId76"/>
    <p:sldId id="2123" r:id="rId77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4D"/>
    <a:srgbClr val="000099"/>
    <a:srgbClr val="D01F29"/>
    <a:srgbClr val="339933"/>
    <a:srgbClr val="E936E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667" autoAdjust="0"/>
    <p:restoredTop sz="91199" autoAdjust="0"/>
  </p:normalViewPr>
  <p:slideViewPr>
    <p:cSldViewPr snapToGrid="0">
      <p:cViewPr>
        <p:scale>
          <a:sx n="156" d="100"/>
          <a:sy n="156" d="100"/>
        </p:scale>
        <p:origin x="104" y="-2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slide" Target="slides/slide65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2.xml"/><Relationship Id="rId82" Type="http://schemas.openxmlformats.org/officeDocument/2006/relationships/tableStyles" Target="tableStyles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77" Type="http://schemas.openxmlformats.org/officeDocument/2006/relationships/slide" Target="slides/slide68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80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slide" Target="slides/slide64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slide" Target="slides/slide6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0/3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3487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03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8679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198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664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6644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713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7225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2560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vasive mechanical ventilation or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CMO:RDVplus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X(CIII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35904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738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699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71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2273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567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827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0/3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160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06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6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0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6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4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 dirty="0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subhead style, 20pt reg, Georgi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492" y="316599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8823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 2: Title slide style, 28pt reg Aria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644" y="50625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37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173" y="6203240"/>
            <a:ext cx="2125228" cy="37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999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7267819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1902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009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 dirty="0"/>
              <a:t>Are there any 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if needed for closing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567" y="594462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1948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388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9474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5527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0315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730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57511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23983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018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4923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4532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3500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8628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0/30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5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776" r:id="rId4"/>
    <p:sldLayoutId id="2147483817" r:id="rId5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 smtClean="0">
                <a:solidFill>
                  <a:schemeClr val="bg1">
                    <a:lumMod val="85000"/>
                  </a:schemeClr>
                </a:solidFill>
              </a:rPr>
              <a:t>‹#›</a:t>
            </a:fld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825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1" kern="1200">
          <a:solidFill>
            <a:srgbClr val="00539B"/>
          </a:solidFill>
          <a:latin typeface="Arial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dirty="0"/>
              <a:pPr/>
              <a:t>10/3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487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tmp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tmp"/><Relationship Id="rId1" Type="http://schemas.openxmlformats.org/officeDocument/2006/relationships/slideLayout" Target="../slideLayouts/slideLayout5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2.jpeg"/><Relationship Id="rId5" Type="http://schemas.openxmlformats.org/officeDocument/2006/relationships/image" Target="../media/image51.tmp"/><Relationship Id="rId4" Type="http://schemas.openxmlformats.org/officeDocument/2006/relationships/image" Target="../media/image50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5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1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9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tiff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9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October</a:t>
            </a:r>
            <a:r>
              <a:rPr lang="en-US" altLang="en-US" sz="4000" i="1" dirty="0">
                <a:latin typeface="Baskerville Old Face" panose="02020602080505020303" pitchFamily="18" charset="0"/>
              </a:rPr>
              <a:t> </a:t>
            </a:r>
            <a:r>
              <a:rPr lang="en-US" altLang="en-US" sz="2400" i="1" dirty="0">
                <a:latin typeface="Baskerville Old Face" panose="02020602080505020303" pitchFamily="18" charset="0"/>
              </a:rPr>
              <a:t>30</a:t>
            </a:r>
            <a:r>
              <a:rPr lang="en-US" altLang="en-US" sz="2400" dirty="0">
                <a:latin typeface="Baskerville Old Face" panose="02020602080505020303" pitchFamily="18" charset="0"/>
              </a:rPr>
              <a:t>,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120458" y="2318162"/>
            <a:ext cx="37404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FIRMED COVID+ HOSPITALIZATIONS /HOSPITAL CAPACITY </a:t>
            </a:r>
          </a:p>
          <a:p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1316"/>
          <a:stretch/>
        </p:blipFill>
        <p:spPr>
          <a:xfrm>
            <a:off x="3788886" y="1242874"/>
            <a:ext cx="8194006" cy="504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58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1613" y="1696070"/>
            <a:ext cx="7000875" cy="26955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1613" y="4391645"/>
            <a:ext cx="7018327" cy="231007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92340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41613" y="978851"/>
            <a:ext cx="2609850" cy="105727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49245" y="2351359"/>
            <a:ext cx="374041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 Arial"/>
              </a:rPr>
              <a:t>GA-31 TSA B receives cease letter from Texas-HHS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8342050" y="5528927"/>
            <a:ext cx="295034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907871" y="5743469"/>
            <a:ext cx="630462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907871" y="5966891"/>
            <a:ext cx="38899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6799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SHS – RAC Mee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800" y="1172246"/>
            <a:ext cx="11390630" cy="275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Medical Incident Support Team (MIST) plans: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 MIST Team </a:t>
            </a: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and B RAC areas</a:t>
            </a:r>
          </a:p>
          <a:p>
            <a:pPr marL="914400" lvl="1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 the transfers, monitor diversion and appropriate requests / denials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to log our current requests and reason for denials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5C52020-7A3B-8946-B5D0-23C5FE35D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847155"/>
              </p:ext>
            </p:extLst>
          </p:nvPr>
        </p:nvGraphicFramePr>
        <p:xfrm>
          <a:off x="2573374" y="3782698"/>
          <a:ext cx="7045252" cy="2125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2626">
                  <a:extLst>
                    <a:ext uri="{9D8B030D-6E8A-4147-A177-3AD203B41FA5}">
                      <a16:colId xmlns:a16="http://schemas.microsoft.com/office/drawing/2014/main" val="1932473354"/>
                    </a:ext>
                  </a:extLst>
                </a:gridCol>
                <a:gridCol w="3522626">
                  <a:extLst>
                    <a:ext uri="{9D8B030D-6E8A-4147-A177-3AD203B41FA5}">
                      <a16:colId xmlns:a16="http://schemas.microsoft.com/office/drawing/2014/main" val="1668908185"/>
                    </a:ext>
                  </a:extLst>
                </a:gridCol>
              </a:tblGrid>
              <a:tr h="28498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rea of Orig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mber of Pati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8451996"/>
                  </a:ext>
                </a:extLst>
              </a:tr>
              <a:tr h="40661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C B (Lubbock Reg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3409409"/>
                  </a:ext>
                </a:extLst>
              </a:tr>
              <a:tr h="40661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C A (Amarillo Reg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2037699"/>
                  </a:ext>
                </a:extLst>
              </a:tr>
              <a:tr h="580871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AC J (Midland/Odessa Regio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0713558"/>
                  </a:ext>
                </a:extLst>
              </a:tr>
              <a:tr h="284984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ew Mex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99547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8647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1380744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888505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4704784"/>
              </p:ext>
            </p:extLst>
          </p:nvPr>
        </p:nvGraphicFramePr>
        <p:xfrm>
          <a:off x="1735421" y="1322091"/>
          <a:ext cx="8721157" cy="2819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1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1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9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9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541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bbock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TU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>
                            <a:lumMod val="90000"/>
                            <a:lumOff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ckley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l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308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5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7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5758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703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</a:t>
                      </a:r>
                      <a:r>
                        <a:rPr lang="en-US" sz="18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2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0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5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2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5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37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32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308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59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98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2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1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5758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4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5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>
                    <a:solidFill>
                      <a:schemeClr val="tx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411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9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533066" y="4626778"/>
            <a:ext cx="40825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ositivity Rate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Lubbock County 12.5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595721" y="4257446"/>
            <a:ext cx="46526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673 highest reported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Lubbock County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artially due to backlog of tests from day prior</a:t>
            </a:r>
          </a:p>
        </p:txBody>
      </p:sp>
    </p:spTree>
    <p:extLst>
      <p:ext uri="{BB962C8B-B14F-4D97-AF65-F5344CB8AC3E}">
        <p14:creationId xmlns:p14="http://schemas.microsoft.com/office/powerpoint/2010/main" val="1699174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628" y="0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39735" y="5107429"/>
          <a:ext cx="11312527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471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19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19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94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20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63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78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32541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79,9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67,0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8,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05,8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69,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5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7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0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6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2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,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8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573" y="974725"/>
            <a:ext cx="10610850" cy="3924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2279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753000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3563F5-C814-364D-B520-392C16EFF0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47" y="1222350"/>
            <a:ext cx="10910012" cy="432307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This Morning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253517" y="1147950"/>
            <a:ext cx="669115" cy="4515885"/>
          </a:xfrm>
          <a:prstGeom prst="rect">
            <a:avLst/>
          </a:prstGeom>
          <a:noFill/>
          <a:ln w="7620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008359" y="1147950"/>
            <a:ext cx="959984" cy="4515885"/>
          </a:xfrm>
          <a:prstGeom prst="rect">
            <a:avLst/>
          </a:prstGeom>
          <a:noFill/>
          <a:ln w="76200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9633777" y="1147950"/>
            <a:ext cx="727793" cy="4515885"/>
          </a:xfrm>
          <a:prstGeom prst="rect">
            <a:avLst/>
          </a:prstGeom>
          <a:noFill/>
          <a:ln w="762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0463500" y="1147950"/>
            <a:ext cx="737314" cy="4515885"/>
          </a:xfrm>
          <a:prstGeom prst="rect">
            <a:avLst/>
          </a:prstGeom>
          <a:noFill/>
          <a:ln w="762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706286" y="1147950"/>
            <a:ext cx="858323" cy="4515885"/>
          </a:xfrm>
          <a:prstGeom prst="rect">
            <a:avLst/>
          </a:prstGeom>
          <a:noFill/>
          <a:ln w="762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3550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5114"/>
            <a:ext cx="9784080" cy="13144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65554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/29/2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1977917"/>
            <a:ext cx="5900274" cy="410527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4"/>
          <a:srcRect t="8532" r="653"/>
          <a:stretch/>
        </p:blipFill>
        <p:spPr>
          <a:xfrm>
            <a:off x="6307137" y="1977917"/>
            <a:ext cx="5719763" cy="410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	cases-hospitalized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98618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/29/2020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9370" y="1578543"/>
            <a:ext cx="9553260" cy="45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241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512711"/>
              </p:ext>
            </p:extLst>
          </p:nvPr>
        </p:nvGraphicFramePr>
        <p:xfrm>
          <a:off x="2032000" y="874930"/>
          <a:ext cx="8128000" cy="57650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803988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E4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10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027989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0603" y="5803166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4468931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087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8915" y="159048"/>
            <a:ext cx="9784080" cy="965002"/>
          </a:xfrm>
        </p:spPr>
        <p:txBody>
          <a:bodyPr/>
          <a:lstStyle/>
          <a:p>
            <a:pPr algn="ctr"/>
            <a:r>
              <a:rPr lang="en-US" dirty="0"/>
              <a:t>CENSUS</a:t>
            </a:r>
          </a:p>
        </p:txBody>
      </p:sp>
      <p:sp>
        <p:nvSpPr>
          <p:cNvPr id="6" name="Rectangle 5"/>
          <p:cNvSpPr/>
          <p:nvPr/>
        </p:nvSpPr>
        <p:spPr>
          <a:xfrm>
            <a:off x="-10222" y="1001884"/>
            <a:ext cx="12202222" cy="12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5F742CD-5690-6440-AF0E-340530DCF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952261"/>
              </p:ext>
            </p:extLst>
          </p:nvPr>
        </p:nvGraphicFramePr>
        <p:xfrm>
          <a:off x="713990" y="1214368"/>
          <a:ext cx="10607726" cy="50436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53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4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35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89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389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060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2485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579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9033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408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7830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1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3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323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 (</a:t>
                      </a:r>
                      <a:r>
                        <a:rPr lang="en-US" sz="2000" b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0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2000" b="1" i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996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H (</a:t>
                      </a:r>
                      <a:r>
                        <a:rPr lang="en-US" sz="2000" b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1800" b="1" i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C (</a:t>
                      </a:r>
                      <a:r>
                        <a:rPr lang="en-US" sz="2000" b="1" i="0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0963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2000" b="1" i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9336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P (</a:t>
                      </a:r>
                      <a:r>
                        <a:rPr lang="en-US" sz="2000" b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 (</a:t>
                      </a:r>
                      <a:r>
                        <a:rPr lang="en-US" sz="1800" b="1" i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i="1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834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 (</a:t>
                      </a:r>
                      <a:r>
                        <a:rPr lang="en-US" sz="2000" b="1" i="0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7706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9493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H (</a:t>
                      </a:r>
                      <a:r>
                        <a:rPr lang="en-US" sz="2000" b="1" u="sng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u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0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817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ristian </a:t>
            </a:r>
            <a:r>
              <a:rPr lang="en-US" b="1" dirty="0" err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quenez</a:t>
            </a:r>
            <a:r>
              <a:rPr lang="en-US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, MS</a:t>
            </a:r>
          </a:p>
          <a:p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linical Data Analyst</a:t>
            </a:r>
          </a:p>
          <a:p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linical Excellence</a:t>
            </a:r>
          </a:p>
          <a:p>
            <a:r>
              <a:rPr lang="en-US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venant Health</a:t>
            </a:r>
          </a:p>
          <a:p>
            <a:endParaRPr lang="en-US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255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0BF8D5F-B736-4AF4-9C60-82AA877CDA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9954" y="904582"/>
            <a:ext cx="6832092" cy="5048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0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9E1681-FDAE-47C3-B66E-9B219AC234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800" y="1426780"/>
            <a:ext cx="10021699" cy="376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75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870DB8E-8F83-4D69-9D56-6FA61A2B6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282" y="1504681"/>
            <a:ext cx="10107436" cy="384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19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New COVID-19 POSITIVES by Day Trend</a:t>
            </a:r>
            <a:br>
              <a:rPr lang="en-US" sz="3700"/>
            </a:br>
            <a:endParaRPr lang="en-US" sz="37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D3F12A-0571-4EB5-AD7A-EB8E7638F0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7906" y="837682"/>
            <a:ext cx="7416188" cy="51826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934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 COVID-19 POSITIVES Age Distribution</a:t>
            </a:r>
            <a:br>
              <a:rPr lang="en-US" sz="3700"/>
            </a:br>
            <a:endParaRPr lang="en-US" sz="37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45342C-5463-4E1E-AF51-07853EA4B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1515" y="846138"/>
            <a:ext cx="8888970" cy="50982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0532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7D78CC7-BDF7-496C-BD3F-BA503D3078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2517" y="977504"/>
            <a:ext cx="9146966" cy="4902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30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7802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79474" y="2318104"/>
            <a:ext cx="515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5% are positive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963" y="2886308"/>
            <a:ext cx="11188700" cy="345937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7002" y="0"/>
            <a:ext cx="4195265" cy="2761839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6BD399C6-FD21-024D-BB5B-2F495D4027E6}"/>
              </a:ext>
            </a:extLst>
          </p:cNvPr>
          <p:cNvSpPr/>
          <p:nvPr/>
        </p:nvSpPr>
        <p:spPr>
          <a:xfrm>
            <a:off x="11135688" y="5713249"/>
            <a:ext cx="815257" cy="78066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923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5883" y="349133"/>
            <a:ext cx="6566968" cy="611788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63336" y="661308"/>
            <a:ext cx="39565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R Requests for staffin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D78CE6E-E8AF-7F48-82E1-5274E08C43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712" y="1726264"/>
            <a:ext cx="3257844" cy="336361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17E74C1-2588-9849-BF47-2B06E59B889E}"/>
              </a:ext>
            </a:extLst>
          </p:cNvPr>
          <p:cNvSpPr txBox="1"/>
          <p:nvPr/>
        </p:nvSpPr>
        <p:spPr>
          <a:xfrm>
            <a:off x="206467" y="5814552"/>
            <a:ext cx="6984041" cy="92333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10-30-20</a:t>
            </a:r>
          </a:p>
          <a:p>
            <a:r>
              <a:rPr lang="en-US" b="1" dirty="0">
                <a:solidFill>
                  <a:schemeClr val="bg1"/>
                </a:solidFill>
              </a:rPr>
              <a:t>We received notice THIS MORNING that we will receive an additional 50 caregivers today and (possibly 6 more tomorrow) Distribution TBD</a:t>
            </a:r>
          </a:p>
        </p:txBody>
      </p:sp>
    </p:spTree>
    <p:extLst>
      <p:ext uri="{BB962C8B-B14F-4D97-AF65-F5344CB8AC3E}">
        <p14:creationId xmlns:p14="http://schemas.microsoft.com/office/powerpoint/2010/main" val="113426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308950"/>
            <a:ext cx="4206240" cy="1752600"/>
          </a:xfrm>
        </p:spPr>
        <p:txBody>
          <a:bodyPr/>
          <a:lstStyle/>
          <a:p>
            <a:r>
              <a:rPr lang="en-US" dirty="0"/>
              <a:t>Jason T. Loos, MD</a:t>
            </a:r>
          </a:p>
          <a:p>
            <a:r>
              <a:rPr lang="en-US" dirty="0" err="1"/>
              <a:t>Ameripath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5A488A9-DEAF-A444-8073-185925B908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2251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065346"/>
              </p:ext>
            </p:extLst>
          </p:nvPr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182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59457" y="4926960"/>
            <a:ext cx="11724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ity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wn, </a:t>
            </a:r>
            <a:r>
              <a:rPr lang="en-US" sz="2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ian onsite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2194494"/>
              </p:ext>
            </p:extLst>
          </p:nvPr>
        </p:nvGraphicFramePr>
        <p:xfrm>
          <a:off x="6248400" y="1215071"/>
          <a:ext cx="5403397" cy="3287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60823" y="3515206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02840" y="3509814"/>
            <a:ext cx="33457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                     &g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                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                 	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60823" y="3847030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60823" y="4178854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10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D575D2-8118-8849-AC18-E6EA1CD5F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911" y="0"/>
            <a:ext cx="5239089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287127-EE97-824D-8795-9B142CD4B9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75668"/>
            <a:ext cx="6892444" cy="23300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AEA691-C20F-DF47-A6BD-75D8CEDE370E}"/>
              </a:ext>
            </a:extLst>
          </p:cNvPr>
          <p:cNvSpPr txBox="1"/>
          <p:nvPr/>
        </p:nvSpPr>
        <p:spPr>
          <a:xfrm>
            <a:off x="1371600" y="731520"/>
            <a:ext cx="3979616" cy="64633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New FDA Guidelines</a:t>
            </a:r>
          </a:p>
        </p:txBody>
      </p:sp>
    </p:spTree>
    <p:extLst>
      <p:ext uri="{BB962C8B-B14F-4D97-AF65-F5344CB8AC3E}">
        <p14:creationId xmlns:p14="http://schemas.microsoft.com/office/powerpoint/2010/main" val="84096828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B7215-E104-A845-82B1-B6F33F4131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arification on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C66DB2-187F-F841-9F03-9E1F65315B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b="1" dirty="0">
                <a:solidFill>
                  <a:srgbClr val="FF0000"/>
                </a:solidFill>
              </a:rPr>
              <a:t>Abbott ID Now </a:t>
            </a:r>
            <a:r>
              <a:rPr lang="en-US" dirty="0"/>
              <a:t>Platform has been our WORKHORSE for testing patients that are symptomatic and suspected of having Covid-19.  </a:t>
            </a:r>
            <a:r>
              <a:rPr lang="en-US" b="1" dirty="0">
                <a:solidFill>
                  <a:srgbClr val="FF0000"/>
                </a:solidFill>
              </a:rPr>
              <a:t>NOTHING HAS CHANGED IN THIS REGARD!</a:t>
            </a:r>
          </a:p>
          <a:p>
            <a:endParaRPr lang="en-US" dirty="0"/>
          </a:p>
          <a:p>
            <a:r>
              <a:rPr lang="en-US" dirty="0">
                <a:solidFill>
                  <a:srgbClr val="FF0000"/>
                </a:solidFill>
              </a:rPr>
              <a:t>It is </a:t>
            </a:r>
            <a:r>
              <a:rPr lang="en-US" u="sng" dirty="0">
                <a:solidFill>
                  <a:srgbClr val="FF0000"/>
                </a:solidFill>
              </a:rPr>
              <a:t>only</a:t>
            </a:r>
            <a:r>
              <a:rPr lang="en-US" dirty="0">
                <a:solidFill>
                  <a:srgbClr val="FF0000"/>
                </a:solidFill>
              </a:rPr>
              <a:t> the ASYMPTOMATIC Patients </a:t>
            </a:r>
            <a:r>
              <a:rPr lang="en-US" dirty="0"/>
              <a:t>that the FDA has required us not to use this platform.  </a:t>
            </a:r>
          </a:p>
        </p:txBody>
      </p:sp>
    </p:spTree>
    <p:extLst>
      <p:ext uri="{BB962C8B-B14F-4D97-AF65-F5344CB8AC3E}">
        <p14:creationId xmlns:p14="http://schemas.microsoft.com/office/powerpoint/2010/main" val="104011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374657-11A4-9B4C-94D8-1F40A3CD920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81597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Pre-op Testing of Asymptomatic Patien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6FB5F49-1D15-6B48-AAEE-4B63EFB45BE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815975"/>
            <a:ext cx="11504613" cy="6042025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r>
              <a:rPr lang="en-US" dirty="0"/>
              <a:t>Covenant has recently responded to an FDA announcement, affecting pre-op testing, resulting in a change of our protocols </a:t>
            </a:r>
          </a:p>
          <a:p>
            <a:r>
              <a:rPr lang="en-US" dirty="0"/>
              <a:t>Given the high rate of false negative results in asymptomatic patients, the FDA will no longer permit the use of the rapid (15-min) </a:t>
            </a:r>
            <a:r>
              <a:rPr lang="en-US" b="1" dirty="0"/>
              <a:t>Abbott ID Now </a:t>
            </a:r>
            <a:r>
              <a:rPr lang="en-US" dirty="0"/>
              <a:t>test for pre-procedure evaluation </a:t>
            </a:r>
          </a:p>
          <a:p>
            <a:pPr lvl="1"/>
            <a:r>
              <a:rPr lang="en-US" dirty="0"/>
              <a:t>Positive test results for COVID-19 indicate that RNA from SARS-CoV-2 was detected, and therefore the patient is infected with the virus and presumed to be contagious</a:t>
            </a:r>
          </a:p>
          <a:p>
            <a:pPr lvl="1"/>
            <a:r>
              <a:rPr lang="en-US" dirty="0"/>
              <a:t>Negative tests </a:t>
            </a:r>
            <a:r>
              <a:rPr lang="en-US" b="1" dirty="0"/>
              <a:t>DO NOT </a:t>
            </a:r>
            <a:r>
              <a:rPr lang="en-US" dirty="0"/>
              <a:t>rule out COVID-19 and </a:t>
            </a:r>
            <a:r>
              <a:rPr lang="en-US" b="1" dirty="0"/>
              <a:t>should not be used as the sole basis for treatment or management decisions</a:t>
            </a:r>
          </a:p>
          <a:p>
            <a:pPr lvl="2"/>
            <a:r>
              <a:rPr lang="en-US" sz="1800" dirty="0"/>
              <a:t>Negative results should be treated as presumptive, and if inconsistent with sign/symptoms, patients should be retested with an alternate assay</a:t>
            </a:r>
          </a:p>
          <a:p>
            <a:pPr lvl="2"/>
            <a:r>
              <a:rPr lang="en-US" sz="1800" dirty="0"/>
              <a:t>It is possible to test the patient too early or too late during COVID-19 infection to make an accurate diagnosis</a:t>
            </a:r>
            <a:endParaRPr lang="en-US" sz="2600" dirty="0"/>
          </a:p>
          <a:p>
            <a:r>
              <a:rPr lang="en-US" sz="2600" dirty="0"/>
              <a:t>Covenant has no control over this change.  We strive to provide you the resources necessary for the most effective care of your patients.  Thank you for your understanding</a:t>
            </a:r>
          </a:p>
          <a:p>
            <a:pPr marL="0" indent="0" algn="r">
              <a:buNone/>
            </a:pPr>
            <a:r>
              <a:rPr lang="en-US" sz="1400" dirty="0">
                <a:solidFill>
                  <a:srgbClr val="0070C0"/>
                </a:solidFill>
              </a:rPr>
              <a:t>https://</a:t>
            </a:r>
            <a:r>
              <a:rPr lang="en-US" sz="1400" dirty="0" err="1">
                <a:solidFill>
                  <a:srgbClr val="0070C0"/>
                </a:solidFill>
              </a:rPr>
              <a:t>www.cdc.gov</a:t>
            </a:r>
            <a:r>
              <a:rPr lang="en-US" sz="1400" dirty="0">
                <a:solidFill>
                  <a:srgbClr val="0070C0"/>
                </a:solidFill>
              </a:rPr>
              <a:t>/coronavirus/2019-ncov/symptoms- testing/</a:t>
            </a:r>
            <a:r>
              <a:rPr lang="en-US" sz="1400" dirty="0" err="1">
                <a:solidFill>
                  <a:srgbClr val="0070C0"/>
                </a:solidFill>
              </a:rPr>
              <a:t>symptoms.html</a:t>
            </a:r>
            <a:endParaRPr lang="en-US" sz="12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07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603" y="1471613"/>
            <a:ext cx="9144793" cy="278651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810" y="996383"/>
            <a:ext cx="7291785" cy="401138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720295" y="2140626"/>
            <a:ext cx="331781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Muleshoe</a:t>
            </a:r>
          </a:p>
          <a:p>
            <a:r>
              <a:rPr lang="en-US" dirty="0">
                <a:solidFill>
                  <a:schemeClr val="bg1"/>
                </a:solidFill>
              </a:rPr>
              <a:t>Dimmitt (Plains Memorial)</a:t>
            </a:r>
          </a:p>
          <a:p>
            <a:r>
              <a:rPr lang="en-US" dirty="0">
                <a:solidFill>
                  <a:schemeClr val="bg1"/>
                </a:solidFill>
              </a:rPr>
              <a:t>Tahoka (Lynn Co)</a:t>
            </a:r>
          </a:p>
          <a:p>
            <a:r>
              <a:rPr lang="en-US" dirty="0">
                <a:solidFill>
                  <a:schemeClr val="bg1"/>
                </a:solidFill>
              </a:rPr>
              <a:t>Denver City (Yoakum Co)</a:t>
            </a:r>
          </a:p>
          <a:p>
            <a:r>
              <a:rPr lang="en-US" dirty="0">
                <a:solidFill>
                  <a:schemeClr val="bg1"/>
                </a:solidFill>
              </a:rPr>
              <a:t>Big Springs (Scenic </a:t>
            </a:r>
            <a:r>
              <a:rPr lang="en-US" dirty="0" err="1">
                <a:solidFill>
                  <a:schemeClr val="bg1"/>
                </a:solidFill>
              </a:rPr>
              <a:t>Mtn</a:t>
            </a:r>
            <a:r>
              <a:rPr lang="en-US" dirty="0">
                <a:solidFill>
                  <a:schemeClr val="bg1"/>
                </a:solidFill>
              </a:rPr>
              <a:t>)</a:t>
            </a:r>
          </a:p>
          <a:p>
            <a:r>
              <a:rPr lang="en-US" dirty="0">
                <a:solidFill>
                  <a:schemeClr val="bg1"/>
                </a:solidFill>
              </a:rPr>
              <a:t>Seminole (Seminole Memorial)</a:t>
            </a:r>
          </a:p>
          <a:p>
            <a:r>
              <a:rPr lang="en-US" dirty="0">
                <a:solidFill>
                  <a:schemeClr val="bg1"/>
                </a:solidFill>
              </a:rPr>
              <a:t>Snyder (</a:t>
            </a:r>
            <a:r>
              <a:rPr lang="en-US" dirty="0" err="1">
                <a:solidFill>
                  <a:schemeClr val="bg1"/>
                </a:solidFill>
              </a:rPr>
              <a:t>Cogdell</a:t>
            </a:r>
            <a:r>
              <a:rPr lang="en-US" dirty="0">
                <a:solidFill>
                  <a:schemeClr val="bg1"/>
                </a:solidFill>
              </a:rPr>
              <a:t> Memorial)</a:t>
            </a:r>
          </a:p>
        </p:txBody>
      </p:sp>
    </p:spTree>
    <p:extLst>
      <p:ext uri="{BB962C8B-B14F-4D97-AF65-F5344CB8AC3E}">
        <p14:creationId xmlns:p14="http://schemas.microsoft.com/office/powerpoint/2010/main" val="119907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F854F-5F73-4A4E-9810-9D91072457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sting our Hero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08AD94-EEFE-8640-A2C8-9FF6A2DAA0D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493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14960" y="434506"/>
            <a:ext cx="1250696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9655" y="395631"/>
            <a:ext cx="9784080" cy="119959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rgbClr val="099BDD"/>
                </a:solidFill>
              </a:rPr>
              <a:t>Caregiv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320829"/>
            <a:ext cx="12192000" cy="638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0526" y="1329334"/>
            <a:ext cx="11230948" cy="566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Testing Our Heroes (antibody testing)</a:t>
            </a:r>
          </a:p>
          <a:p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MC 10/26 – 10/30  7:30 AM – 5:00 PM Main Lobby by Piano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CH 11/2 – 11/6 7:30 AM – 5:00 PM Arnett Room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Levelland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10/27 and 10/28 8:00 AM – 5:00 PM Atrium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lainview 10/26 and 10/28 8:00 Am – 5:00 PM, Lab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Specialty go to the Texas Cardiac Center  3710 21</a:t>
            </a:r>
            <a:r>
              <a:rPr lang="en-US" sz="2800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St 10/26 – 11/6 8:00 AM – 5 PM  extended hours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Tu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/Thu 7:30 AM to 6 PM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en-US" sz="3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96610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14960" y="434506"/>
            <a:ext cx="1250696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9655" y="395631"/>
            <a:ext cx="9784080" cy="119959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rgbClr val="099BDD"/>
                </a:solidFill>
              </a:rPr>
              <a:t>Caregiv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320829"/>
            <a:ext cx="12192000" cy="638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3957" y="1310779"/>
            <a:ext cx="10789126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Testing Our Heroes (antibody testing)</a:t>
            </a:r>
          </a:p>
          <a:p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Grace Clinic 10/26 – 11/6 8:00AM – 5:00 PM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Grace Medical Center – go to Grace clinic or other clinic locations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MG Clinics 11/2 – 11/6 8:00 AM to 5 PM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Northwest Clinic 611 North Frankford Ave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Southwest Clinic 9812 Slide Road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ealth Plus 7601 Quaker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emphis Place Mall 3801 50</a:t>
            </a:r>
            <a:r>
              <a:rPr lang="en-US" sz="28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Street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en-US" sz="2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en-US" sz="3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7492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14960" y="434506"/>
            <a:ext cx="1250696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9655" y="395631"/>
            <a:ext cx="9784080" cy="119959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>
                <a:solidFill>
                  <a:srgbClr val="099BDD"/>
                </a:solidFill>
              </a:rPr>
              <a:t>Caregiv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320829"/>
            <a:ext cx="12192000" cy="638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33377" y="2225150"/>
            <a:ext cx="10789126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Testing Our Heroes</a:t>
            </a: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Online Registration 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Providence.lumedic.id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his will lead the person to Redcap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Registration will start after you click on “Region/Service Area” and Select Texas</a:t>
            </a:r>
          </a:p>
        </p:txBody>
      </p:sp>
    </p:spTree>
    <p:extLst>
      <p:ext uri="{BB962C8B-B14F-4D97-AF65-F5344CB8AC3E}">
        <p14:creationId xmlns:p14="http://schemas.microsoft.com/office/powerpoint/2010/main" val="5653757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harmac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dirty="0">
                <a:ea typeface="+mn-lt"/>
                <a:cs typeface="+mn-lt"/>
              </a:rPr>
              <a:t>Larry Pineda, </a:t>
            </a:r>
            <a:r>
              <a:rPr lang="en-US" dirty="0" err="1">
                <a:ea typeface="+mn-lt"/>
                <a:cs typeface="+mn-lt"/>
              </a:rPr>
              <a:t>PharmD</a:t>
            </a:r>
            <a:endParaRPr lang="en-US" dirty="0">
              <a:ea typeface="+mn-lt"/>
              <a:cs typeface="+mn-lt"/>
            </a:endParaRPr>
          </a:p>
          <a:p>
            <a:r>
              <a:rPr lang="en-US" sz="2800" dirty="0">
                <a:ea typeface="+mn-lt"/>
                <a:cs typeface="+mn-lt"/>
              </a:rPr>
              <a:t>Clinical Pharmacist – AMS </a:t>
            </a:r>
          </a:p>
          <a:p>
            <a:r>
              <a:rPr lang="en-US" sz="2800" dirty="0">
                <a:ea typeface="+mn-lt"/>
                <a:cs typeface="+mn-lt"/>
              </a:rPr>
              <a:t>Covenant Health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01823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mdesivir</a:t>
            </a:r>
            <a:r>
              <a:rPr lang="en-US" dirty="0"/>
              <a:t> Invento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EB1BB29-0C3A-4B3A-A28C-61993538C25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752601" y="1650381"/>
          <a:ext cx="8686798" cy="21327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4225908">
                  <a:extLst>
                    <a:ext uri="{9D8B030D-6E8A-4147-A177-3AD203B41FA5}">
                      <a16:colId xmlns:a16="http://schemas.microsoft.com/office/drawing/2014/main" val="2117385413"/>
                    </a:ext>
                  </a:extLst>
                </a:gridCol>
                <a:gridCol w="2230445">
                  <a:extLst>
                    <a:ext uri="{9D8B030D-6E8A-4147-A177-3AD203B41FA5}">
                      <a16:colId xmlns:a16="http://schemas.microsoft.com/office/drawing/2014/main" val="1429329193"/>
                    </a:ext>
                  </a:extLst>
                </a:gridCol>
                <a:gridCol w="2230445">
                  <a:extLst>
                    <a:ext uri="{9D8B030D-6E8A-4147-A177-3AD203B41FA5}">
                      <a16:colId xmlns:a16="http://schemas.microsoft.com/office/drawing/2014/main" val="2328128836"/>
                    </a:ext>
                  </a:extLst>
                </a:gridCol>
              </a:tblGrid>
              <a:tr h="592658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inistry</a:t>
                      </a:r>
                      <a:endParaRPr lang="en-US" sz="18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Patients Receiving Treatment</a:t>
                      </a:r>
                      <a:endParaRPr lang="en-US" sz="18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Stock</a:t>
                      </a:r>
                    </a:p>
                    <a:p>
                      <a:pPr algn="ctr"/>
                      <a:r>
                        <a:rPr lang="en-US" sz="1800" dirty="0"/>
                        <a:t>(vials)</a:t>
                      </a:r>
                      <a:endParaRPr lang="en-US" sz="1800" b="1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2739498"/>
                  </a:ext>
                </a:extLst>
              </a:tr>
              <a:tr h="373155">
                <a:tc>
                  <a:txBody>
                    <a:bodyPr/>
                    <a:lstStyle/>
                    <a:p>
                      <a:r>
                        <a:rPr lang="en-US" sz="1800" dirty="0"/>
                        <a:t>Covenant Medical Center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dirty="0">
                          <a:solidFill>
                            <a:schemeClr val="dk1"/>
                          </a:solidFill>
                          <a:latin typeface="+mn-lt"/>
                          <a:cs typeface="+mn-cs"/>
                        </a:rPr>
                        <a:t>51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dirty="0">
                          <a:solidFill>
                            <a:schemeClr val="dk1"/>
                          </a:solidFill>
                          <a:latin typeface="+mn-lt"/>
                          <a:cs typeface="+mn-cs"/>
                        </a:rPr>
                        <a:t>360</a:t>
                      </a:r>
                      <a:endParaRPr lang="en-US" sz="1800" b="1" dirty="0">
                        <a:solidFill>
                          <a:srgbClr val="00B050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05379455"/>
                  </a:ext>
                </a:extLst>
              </a:tr>
              <a:tr h="373155">
                <a:tc>
                  <a:txBody>
                    <a:bodyPr/>
                    <a:lstStyle/>
                    <a:p>
                      <a:r>
                        <a:rPr lang="en-US" sz="1800" dirty="0"/>
                        <a:t>Covenant Children’s Hospital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0</a:t>
                      </a:r>
                      <a:endParaRPr lang="en-US" sz="1800" b="1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7273695"/>
                  </a:ext>
                </a:extLst>
              </a:tr>
              <a:tr h="373155">
                <a:tc>
                  <a:txBody>
                    <a:bodyPr/>
                    <a:lstStyle/>
                    <a:p>
                      <a:r>
                        <a:rPr lang="en-US" sz="1800" dirty="0"/>
                        <a:t>Covenant Plainview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dirty="0">
                          <a:solidFill>
                            <a:schemeClr val="dk1"/>
                          </a:solidFill>
                          <a:latin typeface="+mn-lt"/>
                          <a:cs typeface="+mn-cs"/>
                        </a:rPr>
                        <a:t>10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dirty="0">
                          <a:solidFill>
                            <a:schemeClr val="dk1"/>
                          </a:solidFill>
                          <a:latin typeface="+mn-lt"/>
                          <a:cs typeface="+mn-cs"/>
                        </a:rPr>
                        <a:t>111</a:t>
                      </a:r>
                      <a:endParaRPr lang="en-US" sz="1800" b="1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19158812"/>
                  </a:ext>
                </a:extLst>
              </a:tr>
              <a:tr h="373155">
                <a:tc>
                  <a:txBody>
                    <a:bodyPr/>
                    <a:lstStyle/>
                    <a:p>
                      <a:r>
                        <a:rPr lang="en-US" sz="1800" dirty="0"/>
                        <a:t>Covenant Levelland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dirty="0"/>
                        <a:t>1</a:t>
                      </a:r>
                      <a:endParaRPr lang="en-US" sz="1800" b="0" dirty="0">
                        <a:solidFill>
                          <a:schemeClr val="bg2">
                            <a:lumMod val="50000"/>
                          </a:schemeClr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dk1"/>
                          </a:solidFill>
                          <a:latin typeface="+mn-lt"/>
                          <a:cs typeface="+mn-cs"/>
                        </a:rPr>
                        <a:t>40</a:t>
                      </a:r>
                      <a:endParaRPr lang="en-US" sz="1800" b="1" dirty="0">
                        <a:solidFill>
                          <a:srgbClr val="00B05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088860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181385" y="3947532"/>
            <a:ext cx="2966225" cy="457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111827-E87C-499C-A5B5-AE7BB4D0AABA}"/>
              </a:ext>
            </a:extLst>
          </p:cNvPr>
          <p:cNvSpPr txBox="1"/>
          <p:nvPr/>
        </p:nvSpPr>
        <p:spPr>
          <a:xfrm>
            <a:off x="6629895" y="4176132"/>
            <a:ext cx="274320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st updated: 10/29/20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384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JH Formulary Recommend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ier 2: Reserved </a:t>
            </a:r>
            <a:r>
              <a:rPr lang="en-US" dirty="0" err="1"/>
              <a:t>antiinfective</a:t>
            </a:r>
            <a:endParaRPr lang="en-US" dirty="0"/>
          </a:p>
          <a:p>
            <a:r>
              <a:rPr lang="en-US" dirty="0"/>
              <a:t>Note: pediatric use = EUA (consent required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339" y="2597107"/>
            <a:ext cx="10825323" cy="2186766"/>
          </a:xfrm>
          <a:prstGeom prst="rect">
            <a:avLst/>
          </a:prstGeom>
          <a:ln>
            <a:solidFill>
              <a:schemeClr val="tx2"/>
            </a:solidFill>
            <a:prstDash val="dash"/>
          </a:ln>
        </p:spPr>
      </p:pic>
    </p:spTree>
    <p:extLst>
      <p:ext uri="{BB962C8B-B14F-4D97-AF65-F5344CB8AC3E}">
        <p14:creationId xmlns:p14="http://schemas.microsoft.com/office/powerpoint/2010/main" val="393361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SJH AMS COVID-19 Subgrou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459" y="1158351"/>
            <a:ext cx="10207082" cy="5005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05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84D51-FDA1-184F-A90D-AD0BC6664C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nications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EE2A53-E295-EE47-85B1-DB91C0A8FE7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D8A7B4-A1EB-794D-B127-18F378E3F9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2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1749552"/>
          </a:xfrm>
        </p:spPr>
        <p:txBody>
          <a:bodyPr/>
          <a:lstStyle/>
          <a:p>
            <a:r>
              <a:rPr lang="en-US" dirty="0"/>
              <a:t>ASK  IP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3552646"/>
            <a:ext cx="7315200" cy="914400"/>
          </a:xfrm>
        </p:spPr>
        <p:txBody>
          <a:bodyPr>
            <a:normAutofit/>
          </a:bodyPr>
          <a:lstStyle/>
          <a:p>
            <a:r>
              <a:rPr lang="en-US" sz="4000" dirty="0"/>
              <a:t>Infection Prevention presents….</a:t>
            </a:r>
          </a:p>
        </p:txBody>
      </p:sp>
    </p:spTree>
    <p:extLst>
      <p:ext uri="{BB962C8B-B14F-4D97-AF65-F5344CB8AC3E}">
        <p14:creationId xmlns:p14="http://schemas.microsoft.com/office/powerpoint/2010/main" val="247282836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800" b="1" u="sng" dirty="0"/>
              <a:t>COVID-19</a:t>
            </a: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r>
              <a:rPr lang="en-US" b="1" dirty="0"/>
              <a:t>LUCIDOC--&gt;</a:t>
            </a:r>
            <a:br>
              <a:rPr lang="en-US" b="1" dirty="0"/>
            </a:br>
            <a:br>
              <a:rPr lang="en-US" b="1" dirty="0"/>
            </a:br>
            <a:r>
              <a:rPr lang="en-US" b="1" dirty="0"/>
              <a:t> CHS COVID</a:t>
            </a: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11880" y="1021491"/>
            <a:ext cx="8129191" cy="525606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052962" y="0"/>
            <a:ext cx="6483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1">
                    <a:lumMod val="75000"/>
                  </a:schemeClr>
                </a:solidFill>
              </a:rPr>
              <a:t>Universal Masking</a:t>
            </a:r>
          </a:p>
        </p:txBody>
      </p:sp>
    </p:spTree>
    <p:extLst>
      <p:ext uri="{BB962C8B-B14F-4D97-AF65-F5344CB8AC3E}">
        <p14:creationId xmlns:p14="http://schemas.microsoft.com/office/powerpoint/2010/main" val="22052146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LUCIDOC</a:t>
            </a:r>
            <a:r>
              <a:rPr lang="en-US" dirty="0">
                <a:sym typeface="Wingdings" panose="05000000000000000000" pitchFamily="2" charset="2"/>
              </a:rPr>
              <a:t></a:t>
            </a:r>
            <a:br>
              <a:rPr lang="en-US" dirty="0">
                <a:sym typeface="Wingdings" panose="05000000000000000000" pitchFamily="2" charset="2"/>
              </a:rPr>
            </a:b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CHS COVID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52962" y="1123836"/>
            <a:ext cx="7034817" cy="465912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052962" y="0"/>
            <a:ext cx="64831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1">
                    <a:lumMod val="75000"/>
                  </a:schemeClr>
                </a:solidFill>
              </a:rPr>
              <a:t>Universal Masking</a:t>
            </a:r>
          </a:p>
        </p:txBody>
      </p:sp>
    </p:spTree>
    <p:extLst>
      <p:ext uri="{BB962C8B-B14F-4D97-AF65-F5344CB8AC3E}">
        <p14:creationId xmlns:p14="http://schemas.microsoft.com/office/powerpoint/2010/main" val="96097966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A6135-8E13-4D70-A153-EC993CD56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ctober </a:t>
            </a:r>
            <a:br>
              <a:rPr lang="en-US" dirty="0"/>
            </a:br>
            <a:r>
              <a:rPr lang="en-US" dirty="0"/>
              <a:t>Face Shield when with patient care </a:t>
            </a:r>
          </a:p>
        </p:txBody>
      </p:sp>
      <p:pic>
        <p:nvPicPr>
          <p:cNvPr id="11" name="Content Placeholder 10" descr="Chart, bar chart, histogram&#10;&#10;Description automatically generated">
            <a:extLst>
              <a:ext uri="{FF2B5EF4-FFF2-40B4-BE49-F238E27FC236}">
                <a16:creationId xmlns:a16="http://schemas.microsoft.com/office/drawing/2014/main" id="{1F1E724F-015D-4AEB-AA54-03C5A70CEB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713357" y="490654"/>
            <a:ext cx="7961970" cy="5977053"/>
          </a:xfrm>
        </p:spPr>
      </p:pic>
    </p:spTree>
    <p:extLst>
      <p:ext uri="{BB962C8B-B14F-4D97-AF65-F5344CB8AC3E}">
        <p14:creationId xmlns:p14="http://schemas.microsoft.com/office/powerpoint/2010/main" val="38719825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within 3 business days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108" y="851989"/>
            <a:ext cx="2947482" cy="4403751"/>
          </a:xfrm>
        </p:spPr>
        <p:txBody>
          <a:bodyPr>
            <a:normAutofit/>
          </a:bodyPr>
          <a:lstStyle/>
          <a:p>
            <a:pPr algn="ctr"/>
            <a:br>
              <a:rPr lang="en-US" sz="4000" b="1" dirty="0"/>
            </a:br>
            <a:r>
              <a:rPr lang="en-US" sz="4000" b="1" dirty="0"/>
              <a:t>How do masks help prevent the spread of COVID?</a:t>
            </a: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738" y="1302327"/>
            <a:ext cx="7458289" cy="504081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948520" y="28023"/>
            <a:ext cx="72987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accent1">
                    <a:lumMod val="75000"/>
                  </a:schemeClr>
                </a:solidFill>
              </a:rPr>
              <a:t>Masks Reduce the Level of Risks for Exposure from Caregivers and Patients </a:t>
            </a:r>
          </a:p>
        </p:txBody>
      </p:sp>
    </p:spTree>
    <p:extLst>
      <p:ext uri="{BB962C8B-B14F-4D97-AF65-F5344CB8AC3E}">
        <p14:creationId xmlns:p14="http://schemas.microsoft.com/office/powerpoint/2010/main" val="224185333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F1598E-D7C9-43D8-9EF5-0969806F6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8"/>
            <a:ext cx="2947482" cy="2197248"/>
          </a:xfrm>
        </p:spPr>
        <p:txBody>
          <a:bodyPr>
            <a:normAutofit fontScale="90000"/>
          </a:bodyPr>
          <a:lstStyle/>
          <a:p>
            <a:r>
              <a:rPr lang="en-US" dirty="0"/>
              <a:t>Are you wearing your mask correctly in all encounters </a:t>
            </a:r>
            <a:br>
              <a:rPr lang="en-US" dirty="0"/>
            </a:br>
            <a:r>
              <a:rPr lang="en-US" dirty="0"/>
              <a:t>at work</a:t>
            </a:r>
          </a:p>
        </p:txBody>
      </p:sp>
      <p:pic>
        <p:nvPicPr>
          <p:cNvPr id="2050" name="Picture 2" descr="Caring for COVID-19 patients: Teamwork, time make difference - University  of Mississippi Medical Center">
            <a:extLst>
              <a:ext uri="{FF2B5EF4-FFF2-40B4-BE49-F238E27FC236}">
                <a16:creationId xmlns:a16="http://schemas.microsoft.com/office/drawing/2014/main" id="{5D74CE52-FF4E-4160-BE7B-D917E110E46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909" y="232015"/>
            <a:ext cx="3071139" cy="2303354"/>
          </a:xfrm>
          <a:prstGeom prst="rect">
            <a:avLst/>
          </a:prstGeom>
          <a:noFill/>
          <a:ln w="111125"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oo much noise from hospital alarms poses risk for patients">
            <a:extLst>
              <a:ext uri="{FF2B5EF4-FFF2-40B4-BE49-F238E27FC236}">
                <a16:creationId xmlns:a16="http://schemas.microsoft.com/office/drawing/2014/main" id="{D590A954-F1EB-4394-A29D-1EADCD89E5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1821" y="4161973"/>
            <a:ext cx="3602877" cy="2399472"/>
          </a:xfrm>
          <a:prstGeom prst="rect">
            <a:avLst/>
          </a:prstGeom>
          <a:solidFill>
            <a:srgbClr val="FF0000"/>
          </a:solidFill>
          <a:ln w="69850">
            <a:solidFill>
              <a:srgbClr val="FF0000"/>
            </a:solidFill>
          </a:ln>
        </p:spPr>
      </p:pic>
      <p:pic>
        <p:nvPicPr>
          <p:cNvPr id="2056" name="Picture 8" descr="Avoid these Wrong Mask-Wearing Techniques | Rochester Regional Health">
            <a:extLst>
              <a:ext uri="{FF2B5EF4-FFF2-40B4-BE49-F238E27FC236}">
                <a16:creationId xmlns:a16="http://schemas.microsoft.com/office/drawing/2014/main" id="{1F3A4650-8B95-4232-93A6-959FECDC06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175" y="232015"/>
            <a:ext cx="4292168" cy="3514436"/>
          </a:xfrm>
          <a:prstGeom prst="rect">
            <a:avLst/>
          </a:prstGeom>
          <a:noFill/>
          <a:ln w="698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FE0CE02C-0CEF-489F-985A-60A898C1AF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035"/>
          <a:stretch/>
        </p:blipFill>
        <p:spPr>
          <a:xfrm>
            <a:off x="3579998" y="3457207"/>
            <a:ext cx="4039475" cy="2899316"/>
          </a:xfrm>
          <a:prstGeom prst="rect">
            <a:avLst/>
          </a:prstGeom>
          <a:solidFill>
            <a:srgbClr val="FFC000"/>
          </a:solidFill>
          <a:ln w="66675">
            <a:solidFill>
              <a:schemeClr val="accent2"/>
            </a:solidFill>
          </a:ln>
        </p:spPr>
      </p:pic>
      <p:sp>
        <p:nvSpPr>
          <p:cNvPr id="6" name="Multiplication Sign 5">
            <a:extLst>
              <a:ext uri="{FF2B5EF4-FFF2-40B4-BE49-F238E27FC236}">
                <a16:creationId xmlns:a16="http://schemas.microsoft.com/office/drawing/2014/main" id="{F0694C85-A447-46E9-BE68-ACC0A5F87638}"/>
              </a:ext>
            </a:extLst>
          </p:cNvPr>
          <p:cNvSpPr/>
          <p:nvPr/>
        </p:nvSpPr>
        <p:spPr>
          <a:xfrm>
            <a:off x="10863986" y="3992465"/>
            <a:ext cx="914400" cy="914400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6" descr="N.Y. Healthcare Workers, EMS Stop Getting COVID-19 Testing | EMS World">
            <a:extLst>
              <a:ext uri="{FF2B5EF4-FFF2-40B4-BE49-F238E27FC236}">
                <a16:creationId xmlns:a16="http://schemas.microsoft.com/office/drawing/2014/main" id="{FD0BEFF9-FB57-400B-B77F-9DE61549F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37" y="4556893"/>
            <a:ext cx="2995934" cy="2004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67661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7023F-DA0F-459F-A35D-CBED7BB83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distancing while eating No mask</a:t>
            </a:r>
          </a:p>
        </p:txBody>
      </p:sp>
      <p:pic>
        <p:nvPicPr>
          <p:cNvPr id="1026" name="Picture 2" descr="Man and Women doing social distancing while eating food alone at tables in  the restaurant. Make blank space to prevent and stop Coronavirus spread in  public places. the New normal. - Buy">
            <a:extLst>
              <a:ext uri="{FF2B5EF4-FFF2-40B4-BE49-F238E27FC236}">
                <a16:creationId xmlns:a16="http://schemas.microsoft.com/office/drawing/2014/main" id="{010C8EA5-1E68-4D93-84FE-67832255AA9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025" y="283584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oronavirus: Free, fun things to do online while social distancing">
            <a:extLst>
              <a:ext uri="{FF2B5EF4-FFF2-40B4-BE49-F238E27FC236}">
                <a16:creationId xmlns:a16="http://schemas.microsoft.com/office/drawing/2014/main" id="{2BDB58F0-14FB-4226-98FC-4E51ECD4BF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142" y="2680855"/>
            <a:ext cx="5186220" cy="2296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870381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b="1" dirty="0"/>
              <a:t>Infection Preventionist On Call  </a:t>
            </a:r>
            <a:br>
              <a:rPr lang="en-US" b="1" dirty="0"/>
            </a:br>
            <a:r>
              <a:rPr lang="en-US" b="1" dirty="0"/>
              <a:t>(806) 252-1762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7200" dirty="0">
                <a:solidFill>
                  <a:schemeClr val="accent1">
                    <a:lumMod val="75000"/>
                  </a:schemeClr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75259341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E2862BF-EDC8-3E4B-BB30-F63F7FD653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4" y="0"/>
            <a:ext cx="12112011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3D3D2C8-8B61-AB4E-BB03-1E8FEB3ED308}"/>
              </a:ext>
            </a:extLst>
          </p:cNvPr>
          <p:cNvSpPr txBox="1"/>
          <p:nvPr/>
        </p:nvSpPr>
        <p:spPr>
          <a:xfrm>
            <a:off x="2154158" y="4600424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8.93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CD2CB5-D45E-A341-BCE0-75FBE971ABBA}"/>
              </a:ext>
            </a:extLst>
          </p:cNvPr>
          <p:cNvSpPr txBox="1"/>
          <p:nvPr/>
        </p:nvSpPr>
        <p:spPr>
          <a:xfrm>
            <a:off x="3245290" y="4231092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9.75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918B6D3-8B40-9841-B57D-2411545E1F04}"/>
              </a:ext>
            </a:extLst>
          </p:cNvPr>
          <p:cNvSpPr txBox="1"/>
          <p:nvPr/>
        </p:nvSpPr>
        <p:spPr>
          <a:xfrm>
            <a:off x="4261608" y="4062867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9.9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D9149FE-6128-EF41-8BC6-9450745DFC29}"/>
              </a:ext>
            </a:extLst>
          </p:cNvPr>
          <p:cNvSpPr txBox="1"/>
          <p:nvPr/>
        </p:nvSpPr>
        <p:spPr>
          <a:xfrm>
            <a:off x="5256290" y="3335864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1.41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2CCCC6-9A13-1444-88BC-0F2ADB80CDBB}"/>
              </a:ext>
            </a:extLst>
          </p:cNvPr>
          <p:cNvSpPr txBox="1"/>
          <p:nvPr/>
        </p:nvSpPr>
        <p:spPr>
          <a:xfrm>
            <a:off x="6259024" y="3429000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1.23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E9C6EF-E9C0-1A48-98D6-73A4FD219DA0}"/>
              </a:ext>
            </a:extLst>
          </p:cNvPr>
          <p:cNvSpPr txBox="1"/>
          <p:nvPr/>
        </p:nvSpPr>
        <p:spPr>
          <a:xfrm>
            <a:off x="7320268" y="4062867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9.97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B97F0F-095D-F44E-AE2C-A2D0C638E2F4}"/>
              </a:ext>
            </a:extLst>
          </p:cNvPr>
          <p:cNvSpPr txBox="1"/>
          <p:nvPr/>
        </p:nvSpPr>
        <p:spPr>
          <a:xfrm>
            <a:off x="8366202" y="3818592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0.41%</a:t>
            </a:r>
          </a:p>
        </p:txBody>
      </p:sp>
    </p:spTree>
    <p:extLst>
      <p:ext uri="{BB962C8B-B14F-4D97-AF65-F5344CB8AC3E}">
        <p14:creationId xmlns:p14="http://schemas.microsoft.com/office/powerpoint/2010/main" val="170211969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5EB10EA-B799-714D-AF11-57DB9D1EC0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9760"/>
            <a:ext cx="12192000" cy="619848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7A976D5-97BD-484A-9286-9A637C061C61}"/>
              </a:ext>
            </a:extLst>
          </p:cNvPr>
          <p:cNvSpPr txBox="1"/>
          <p:nvPr/>
        </p:nvSpPr>
        <p:spPr>
          <a:xfrm>
            <a:off x="2130696" y="4341165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9.31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42700C-0279-0A41-9D12-15FA40F89330}"/>
              </a:ext>
            </a:extLst>
          </p:cNvPr>
          <p:cNvSpPr txBox="1"/>
          <p:nvPr/>
        </p:nvSpPr>
        <p:spPr>
          <a:xfrm>
            <a:off x="3177358" y="4525831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8.17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0A435C-F0B0-744E-9857-D248FA79B1C4}"/>
              </a:ext>
            </a:extLst>
          </p:cNvPr>
          <p:cNvSpPr txBox="1"/>
          <p:nvPr/>
        </p:nvSpPr>
        <p:spPr>
          <a:xfrm>
            <a:off x="4150541" y="4263277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9.62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FFE5A3-0C77-C345-9FCF-2BBED2F18C65}"/>
              </a:ext>
            </a:extLst>
          </p:cNvPr>
          <p:cNvSpPr txBox="1"/>
          <p:nvPr/>
        </p:nvSpPr>
        <p:spPr>
          <a:xfrm>
            <a:off x="5275864" y="4447943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8.99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0B4597F-0B80-6B46-BC1C-DC55BAC92735}"/>
              </a:ext>
            </a:extLst>
          </p:cNvPr>
          <p:cNvSpPr txBox="1"/>
          <p:nvPr/>
        </p:nvSpPr>
        <p:spPr>
          <a:xfrm>
            <a:off x="6281237" y="3971833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1.59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B82E53-6317-FB46-97C7-8A93A34FC612}"/>
              </a:ext>
            </a:extLst>
          </p:cNvPr>
          <p:cNvSpPr txBox="1"/>
          <p:nvPr/>
        </p:nvSpPr>
        <p:spPr>
          <a:xfrm>
            <a:off x="7372174" y="3893945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2.29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107D7C-0EF7-664C-B6DA-3A4575EB80F1}"/>
              </a:ext>
            </a:extLst>
          </p:cNvPr>
          <p:cNvSpPr txBox="1"/>
          <p:nvPr/>
        </p:nvSpPr>
        <p:spPr>
          <a:xfrm>
            <a:off x="8381824" y="3107061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7.42%</a:t>
            </a:r>
          </a:p>
        </p:txBody>
      </p:sp>
    </p:spTree>
    <p:extLst>
      <p:ext uri="{BB962C8B-B14F-4D97-AF65-F5344CB8AC3E}">
        <p14:creationId xmlns:p14="http://schemas.microsoft.com/office/powerpoint/2010/main" val="246459450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0C03B2-AEA2-9343-9F78-AC961FAA8E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89" y="0"/>
            <a:ext cx="12058022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46CA73E-3A37-6647-A70A-78B63722311B}"/>
              </a:ext>
            </a:extLst>
          </p:cNvPr>
          <p:cNvSpPr txBox="1"/>
          <p:nvPr/>
        </p:nvSpPr>
        <p:spPr>
          <a:xfrm>
            <a:off x="2187846" y="4504451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28.82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9E2D7B-2E12-1E4F-A2D9-81C874B6965E}"/>
              </a:ext>
            </a:extLst>
          </p:cNvPr>
          <p:cNvSpPr txBox="1"/>
          <p:nvPr/>
        </p:nvSpPr>
        <p:spPr>
          <a:xfrm>
            <a:off x="3193686" y="4139488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32.68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912B380-03AE-E849-8DAC-54D25824C403}"/>
              </a:ext>
            </a:extLst>
          </p:cNvPr>
          <p:cNvSpPr txBox="1"/>
          <p:nvPr/>
        </p:nvSpPr>
        <p:spPr>
          <a:xfrm>
            <a:off x="4256674" y="3822419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36.3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2F7BC7-ABEF-EC40-B85F-FE63B2CC7ECC}"/>
              </a:ext>
            </a:extLst>
          </p:cNvPr>
          <p:cNvSpPr txBox="1"/>
          <p:nvPr/>
        </p:nvSpPr>
        <p:spPr>
          <a:xfrm>
            <a:off x="5262514" y="3531477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39.58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17427A-579A-324E-8229-00F4F808C866}"/>
              </a:ext>
            </a:extLst>
          </p:cNvPr>
          <p:cNvSpPr txBox="1"/>
          <p:nvPr/>
        </p:nvSpPr>
        <p:spPr>
          <a:xfrm>
            <a:off x="6310264" y="3423413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40.72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5D54EE-967F-874B-BF0D-CC0463AACAF8}"/>
              </a:ext>
            </a:extLst>
          </p:cNvPr>
          <p:cNvSpPr txBox="1"/>
          <p:nvPr/>
        </p:nvSpPr>
        <p:spPr>
          <a:xfrm>
            <a:off x="7323189" y="3249492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42.7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587041-5E0A-1645-8750-A1C6B2CF7A24}"/>
              </a:ext>
            </a:extLst>
          </p:cNvPr>
          <p:cNvSpPr txBox="1"/>
          <p:nvPr/>
        </p:nvSpPr>
        <p:spPr>
          <a:xfrm>
            <a:off x="8448924" y="3346811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40.99%</a:t>
            </a:r>
          </a:p>
        </p:txBody>
      </p:sp>
    </p:spTree>
    <p:extLst>
      <p:ext uri="{BB962C8B-B14F-4D97-AF65-F5344CB8AC3E}">
        <p14:creationId xmlns:p14="http://schemas.microsoft.com/office/powerpoint/2010/main" val="329265526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F4177D2-6A61-3B4B-8EAD-72506A2C6E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453" y="597310"/>
            <a:ext cx="8851900" cy="3352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90C62A0-5EDB-4649-B5C4-9B101860EC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2134" y="4169288"/>
            <a:ext cx="5538219" cy="20987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5988A5-777B-8E4A-ADA1-A0065F4EBB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653" y="4169288"/>
            <a:ext cx="5567369" cy="20987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7F2F3E1-D4BE-E24D-87F0-18CE0F661F4F}"/>
              </a:ext>
            </a:extLst>
          </p:cNvPr>
          <p:cNvSpPr txBox="1"/>
          <p:nvPr/>
        </p:nvSpPr>
        <p:spPr>
          <a:xfrm>
            <a:off x="545691" y="1032387"/>
            <a:ext cx="219750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Daily New Confirmed Cases For Our Area</a:t>
            </a:r>
          </a:p>
        </p:txBody>
      </p:sp>
    </p:spTree>
    <p:extLst>
      <p:ext uri="{BB962C8B-B14F-4D97-AF65-F5344CB8AC3E}">
        <p14:creationId xmlns:p14="http://schemas.microsoft.com/office/powerpoint/2010/main" val="135217533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BC724D-9FB9-D849-B465-EFFC3951FB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836"/>
            <a:ext cx="12192000" cy="662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583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1513" y="2880766"/>
            <a:ext cx="8838473" cy="1870729"/>
          </a:xfrm>
        </p:spPr>
        <p:txBody>
          <a:bodyPr/>
          <a:lstStyle/>
          <a:p>
            <a:r>
              <a:rPr lang="en-US" dirty="0"/>
              <a:t>Reflection &amp; Safety Stor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61512" y="5456882"/>
            <a:ext cx="883847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Presented by</a:t>
            </a:r>
          </a:p>
          <a:p>
            <a:r>
              <a:rPr lang="en-US" b="1" dirty="0"/>
              <a:t>Shannon </a:t>
            </a:r>
            <a:r>
              <a:rPr lang="en-US" b="1" dirty="0" err="1"/>
              <a:t>Turnbow</a:t>
            </a:r>
            <a:r>
              <a:rPr lang="en-US" b="1" dirty="0"/>
              <a:t>, MD</a:t>
            </a:r>
            <a:endParaRPr lang="en-US" dirty="0"/>
          </a:p>
          <a:p>
            <a:r>
              <a:rPr lang="en-US" dirty="0"/>
              <a:t>Pulmonary Intensivist</a:t>
            </a:r>
          </a:p>
          <a:p>
            <a:r>
              <a:rPr lang="en-US" dirty="0"/>
              <a:t>Covenant Medical Group</a:t>
            </a:r>
          </a:p>
        </p:txBody>
      </p:sp>
    </p:spTree>
    <p:extLst>
      <p:ext uri="{BB962C8B-B14F-4D97-AF65-F5344CB8AC3E}">
        <p14:creationId xmlns:p14="http://schemas.microsoft.com/office/powerpoint/2010/main" val="41606269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EB61B2-DB77-7C4C-A402-97273C9359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5441"/>
            <a:ext cx="12192000" cy="6527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4230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56D9DBE-7D97-0643-8EF5-E961E47FE8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613"/>
            <a:ext cx="12192000" cy="6658774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FBA10BDC-C1B4-8C4C-A65D-75BBD4220EE1}"/>
              </a:ext>
            </a:extLst>
          </p:cNvPr>
          <p:cNvSpPr/>
          <p:nvPr/>
        </p:nvSpPr>
        <p:spPr>
          <a:xfrm>
            <a:off x="9393382" y="2303813"/>
            <a:ext cx="2339439" cy="58189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06071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C6B52DD-B8F3-964F-A8CB-449EA6728D4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w Mexico Demographic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D217E31-0D55-194A-B915-EC23E561522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5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FC5C03C-FC13-6747-95CA-15E226E361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754"/>
            <a:ext cx="12192000" cy="6700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3757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96559-7B6A-DD45-8D40-6BD86D10A4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7418" y="270165"/>
            <a:ext cx="10363200" cy="1470025"/>
          </a:xfrm>
        </p:spPr>
        <p:txBody>
          <a:bodyPr/>
          <a:lstStyle/>
          <a:p>
            <a:r>
              <a:rPr lang="en-US" dirty="0"/>
              <a:t>Special Than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3EE784-09FC-FF44-A7DE-C858B29107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6108" y="1005177"/>
            <a:ext cx="7472235" cy="52193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3ABFECCE-C685-9F4D-84EE-F1F0E8D06B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22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194CF-7365-CC4A-B5F4-DF09579BC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s Conference Stars!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ABA5DE-8D11-6A47-9DD6-9EF4A343BA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nie Gonzales </a:t>
            </a:r>
          </a:p>
          <a:p>
            <a:r>
              <a:rPr lang="en-US" dirty="0"/>
              <a:t>Brooklyn Fleming </a:t>
            </a:r>
          </a:p>
          <a:p>
            <a:r>
              <a:rPr lang="en-US" dirty="0"/>
              <a:t>Lona Ashley </a:t>
            </a:r>
          </a:p>
          <a:p>
            <a:r>
              <a:rPr lang="en-US" dirty="0"/>
              <a:t>Geri Butler </a:t>
            </a:r>
          </a:p>
          <a:p>
            <a:r>
              <a:rPr lang="en-US" dirty="0"/>
              <a:t>Denise Christianson </a:t>
            </a:r>
          </a:p>
          <a:p>
            <a:endParaRPr lang="en-US" dirty="0"/>
          </a:p>
          <a:p>
            <a:r>
              <a:rPr lang="en-US" dirty="0"/>
              <a:t>Dr. </a:t>
            </a:r>
            <a:r>
              <a:rPr lang="en-US" dirty="0" err="1"/>
              <a:t>Turnbow</a:t>
            </a:r>
            <a:r>
              <a:rPr lang="en-US" dirty="0"/>
              <a:t> </a:t>
            </a:r>
          </a:p>
          <a:p>
            <a:r>
              <a:rPr lang="en-US" dirty="0"/>
              <a:t>Dr. Williams 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D211F0-100D-5D4F-9F7F-532CAF53BB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018" y="1422317"/>
            <a:ext cx="7246450" cy="20690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9FB0E2F-7538-0B46-B136-34E875B42B5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20"/>
          <a:stretch/>
        </p:blipFill>
        <p:spPr>
          <a:xfrm>
            <a:off x="4959927" y="3895353"/>
            <a:ext cx="2673927" cy="19365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AE5382C-A899-ED4A-81B6-17A3ECA782E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1" r="33725" b="8520"/>
          <a:stretch/>
        </p:blipFill>
        <p:spPr>
          <a:xfrm>
            <a:off x="8498032" y="3895353"/>
            <a:ext cx="2724150" cy="1936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27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1866AE3-4B33-4A4E-A66B-3ACE48E1597F}"/>
              </a:ext>
            </a:extLst>
          </p:cNvPr>
          <p:cNvSpPr txBox="1"/>
          <p:nvPr/>
        </p:nvSpPr>
        <p:spPr>
          <a:xfrm>
            <a:off x="0" y="-69274"/>
            <a:ext cx="12192000" cy="747897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endParaRPr lang="en-US" sz="8000" dirty="0">
              <a:solidFill>
                <a:schemeClr val="bg1"/>
              </a:solidFill>
            </a:endParaRPr>
          </a:p>
          <a:p>
            <a:pPr algn="ctr"/>
            <a:r>
              <a:rPr lang="en-US" sz="8000" dirty="0">
                <a:solidFill>
                  <a:schemeClr val="bg1"/>
                </a:solidFill>
              </a:rPr>
              <a:t>“These are REAL PEOPLE,</a:t>
            </a:r>
          </a:p>
          <a:p>
            <a:pPr algn="ctr"/>
            <a:endParaRPr lang="en-US" sz="8000" dirty="0">
              <a:solidFill>
                <a:schemeClr val="bg1"/>
              </a:solidFill>
            </a:endParaRPr>
          </a:p>
          <a:p>
            <a:pPr algn="ctr"/>
            <a:r>
              <a:rPr lang="en-US" sz="8000" dirty="0">
                <a:solidFill>
                  <a:schemeClr val="bg1"/>
                </a:solidFill>
              </a:rPr>
              <a:t>Not just numbers”</a:t>
            </a:r>
          </a:p>
          <a:p>
            <a:pPr algn="ctr"/>
            <a:endParaRPr lang="en-US" sz="8000" dirty="0">
              <a:solidFill>
                <a:schemeClr val="bg1"/>
              </a:solidFill>
            </a:endParaRPr>
          </a:p>
          <a:p>
            <a:pPr algn="ctr"/>
            <a:endParaRPr lang="en-US" sz="8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31633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within 3 business days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Safety 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b="1" dirty="0"/>
              <a:t>Shannon </a:t>
            </a:r>
            <a:r>
              <a:rPr lang="en-US" b="1" dirty="0" err="1"/>
              <a:t>Turnbow</a:t>
            </a:r>
            <a:r>
              <a:rPr lang="en-US" b="1" dirty="0"/>
              <a:t>, MD</a:t>
            </a:r>
            <a:endParaRPr lang="en-US" dirty="0"/>
          </a:p>
          <a:p>
            <a:r>
              <a:rPr lang="en-US" dirty="0"/>
              <a:t>Pulmonary Intensivist</a:t>
            </a:r>
          </a:p>
          <a:p>
            <a:r>
              <a:rPr lang="en-US" dirty="0"/>
              <a:t>Covenant Medical Group</a:t>
            </a:r>
          </a:p>
        </p:txBody>
      </p:sp>
    </p:spTree>
    <p:extLst>
      <p:ext uri="{BB962C8B-B14F-4D97-AF65-F5344CB8AC3E}">
        <p14:creationId xmlns:p14="http://schemas.microsoft.com/office/powerpoint/2010/main" val="195547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8F3EB48-23C1-4CEC-93D7-FFE4CF3070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875" y="0"/>
            <a:ext cx="11144250" cy="6858000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80E44B5-9431-4899-A628-F7D92E9254EA}"/>
              </a:ext>
            </a:extLst>
          </p:cNvPr>
          <p:cNvCxnSpPr>
            <a:cxnSpLocks/>
          </p:cNvCxnSpPr>
          <p:nvPr/>
        </p:nvCxnSpPr>
        <p:spPr>
          <a:xfrm flipH="1">
            <a:off x="11566525" y="1442720"/>
            <a:ext cx="264160" cy="71628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0570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25343</TotalTime>
  <Words>1812</Words>
  <Application>Microsoft Macintosh PowerPoint</Application>
  <PresentationFormat>Widescreen</PresentationFormat>
  <Paragraphs>581</Paragraphs>
  <Slides>68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9" baseType="lpstr">
      <vt:lpstr> Arial</vt:lpstr>
      <vt:lpstr>Arial</vt:lpstr>
      <vt:lpstr>Arial Narrow</vt:lpstr>
      <vt:lpstr>Baskerville Old Face</vt:lpstr>
      <vt:lpstr>Calibri</vt:lpstr>
      <vt:lpstr>Corbel</vt:lpstr>
      <vt:lpstr>Georgia</vt:lpstr>
      <vt:lpstr>Helvetica Neue Medium</vt:lpstr>
      <vt:lpstr>Segoe UI</vt:lpstr>
      <vt:lpstr>Wingdings</vt:lpstr>
      <vt:lpstr>Wingdings 2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Office Theme</vt:lpstr>
      <vt:lpstr>Frame</vt:lpstr>
      <vt:lpstr>think-cell Slide</vt:lpstr>
      <vt:lpstr>Covenant Health Presents    Critical Communications: A Weekly Physician Update  October 30, 2020</vt:lpstr>
      <vt:lpstr>PowerPoint Presentation</vt:lpstr>
      <vt:lpstr>Disclosures of Commercial Interest</vt:lpstr>
      <vt:lpstr>Disclosures</vt:lpstr>
      <vt:lpstr>CME Credit was only approved for the Live Teams meeting</vt:lpstr>
      <vt:lpstr>Reflection &amp; Safety Story</vt:lpstr>
      <vt:lpstr>Safety Story</vt:lpstr>
      <vt:lpstr>Current Regional Covid-19 Census</vt:lpstr>
      <vt:lpstr>PowerPoint Presentation</vt:lpstr>
      <vt:lpstr>COVID+ HOSPITALIZATIONS BY TSA ID</vt:lpstr>
      <vt:lpstr>COVID+ HOSPITALIZATIONS BY TSA ID</vt:lpstr>
      <vt:lpstr>DSHS – RAC Meeting</vt:lpstr>
      <vt:lpstr>Regional</vt:lpstr>
      <vt:lpstr>STATE</vt:lpstr>
      <vt:lpstr>Lubbock This Morning</vt:lpstr>
      <vt:lpstr>PUI/Confirmed cases-hospitalized</vt:lpstr>
      <vt:lpstr>PUI/Confirmed  cases-hospitalized</vt:lpstr>
      <vt:lpstr>Surge Plan</vt:lpstr>
      <vt:lpstr>CENSUS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TX/NM Region Weekly Procedures (YOY)</vt:lpstr>
      <vt:lpstr>Caregiver  Update</vt:lpstr>
      <vt:lpstr>PowerPoint Presentation</vt:lpstr>
      <vt:lpstr>PowerPoint Presentation</vt:lpstr>
      <vt:lpstr>Covid-19 Testing</vt:lpstr>
      <vt:lpstr>PowerPoint Presentation</vt:lpstr>
      <vt:lpstr>TESTING</vt:lpstr>
      <vt:lpstr>PowerPoint Presentation</vt:lpstr>
      <vt:lpstr>Clarification on Testing</vt:lpstr>
      <vt:lpstr>Pre-op Testing of Asymptomatic Patients</vt:lpstr>
      <vt:lpstr>PowerPoint Presentation</vt:lpstr>
      <vt:lpstr>Testing our Heroes</vt:lpstr>
      <vt:lpstr>PowerPoint Presentation</vt:lpstr>
      <vt:lpstr>PowerPoint Presentation</vt:lpstr>
      <vt:lpstr>PowerPoint Presentation</vt:lpstr>
      <vt:lpstr>Pharmacy Update</vt:lpstr>
      <vt:lpstr>Remdesivir Inventory</vt:lpstr>
      <vt:lpstr>PSJH Formulary Recommendation</vt:lpstr>
      <vt:lpstr>PSJH AMS COVID-19 Subgroup</vt:lpstr>
      <vt:lpstr>Communications Update</vt:lpstr>
      <vt:lpstr>ASK  IP</vt:lpstr>
      <vt:lpstr>COVID-19   LUCIDOC--&gt;   CHS COVID</vt:lpstr>
      <vt:lpstr>LUCIDOC  CHS COVID</vt:lpstr>
      <vt:lpstr>October  Face Shield when with patient care </vt:lpstr>
      <vt:lpstr> How do masks help prevent the spread of COVID?</vt:lpstr>
      <vt:lpstr>Are you wearing your mask correctly in all encounters  at work</vt:lpstr>
      <vt:lpstr>Social distancing while eating No mask</vt:lpstr>
      <vt:lpstr>Infection Preventionist On Call   (806) 252-1762 </vt:lpstr>
      <vt:lpstr>Texas Dem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w Mexico Demographics</vt:lpstr>
      <vt:lpstr>PowerPoint Presentation</vt:lpstr>
      <vt:lpstr>Special Thanks</vt:lpstr>
      <vt:lpstr>Press Conference Stars!!</vt:lpstr>
      <vt:lpstr>PowerPoint Presentation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611</cp:revision>
  <cp:lastPrinted>2020-10-16T15:04:20Z</cp:lastPrinted>
  <dcterms:created xsi:type="dcterms:W3CDTF">2020-04-06T15:45:06Z</dcterms:created>
  <dcterms:modified xsi:type="dcterms:W3CDTF">2020-10-30T16:44:47Z</dcterms:modified>
</cp:coreProperties>
</file>